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14.xml" ContentType="application/vnd.openxmlformats-officedocument.presentationml.slide+xml"/>
  <Override PartName="/ppt/tags/tag1382.xml" ContentType="application/vnd.openxmlformats-officedocument.presentationml.tags+xml"/>
  <Override PartName="/ppt/tags/tag1387.xml" ContentType="application/vnd.openxmlformats-officedocument.presentationml.tags+xml"/>
  <Override PartName="/ppt/tags/tag1395.xml" ContentType="application/vnd.openxmlformats-officedocument.presentationml.tags+xml"/>
  <Override PartName="/ppt/tags/tag139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76.xml" ContentType="application/vnd.openxmlformats-officedocument.presentationml.tags+xml"/>
  <Override PartName="/ppt/tags/tag1381.xml" ContentType="application/vnd.openxmlformats-officedocument.presentationml.tags+xml"/>
  <Override PartName="/ppt/tags/tag1386.xml" ContentType="application/vnd.openxmlformats-officedocument.presentationml.tags+xml"/>
  <Override PartName="/ppt/tags/tag1394.xml" ContentType="application/vnd.openxmlformats-officedocument.presentationml.tags+xml"/>
  <Override PartName="/ppt/tags/tag1402.xml" ContentType="application/vnd.openxmlformats-officedocument.presentationml.tags+xml"/>
  <Override PartName="/ppt/charts/chart51.xml" ContentType="application/vnd.openxmlformats-officedocument.drawingml.chart+xml"/>
  <Override PartName="/ppt/tags/tag1371.xml" ContentType="application/vnd.openxmlformats-officedocument.presentationml.tags+xml"/>
  <Override PartName="/ppt/tags/tag1385.xml" ContentType="application/vnd.openxmlformats-officedocument.presentationml.tags+xml"/>
  <Override PartName="/ppt/tags/tag1389.xml" ContentType="application/vnd.openxmlformats-officedocument.presentationml.tags+xml"/>
  <Override PartName="/ppt/tags/tag1398.xml" ContentType="application/vnd.openxmlformats-officedocument.presentationml.tags+xml"/>
  <Override PartName="/ppt/tags/tag1375.xml" ContentType="application/vnd.openxmlformats-officedocument.presentationml.tags+xml"/>
  <Override PartName="/ppt/tags/tag1380.xml" ContentType="application/vnd.openxmlformats-officedocument.presentationml.tags+xml"/>
  <Override PartName="/ppt/tags/tag1393.xml" ContentType="application/vnd.openxmlformats-officedocument.presentationml.tags+xml"/>
  <Override PartName="/ppt/tags/tag1401.xml" ContentType="application/vnd.openxmlformats-officedocument.presentationml.tags+xml"/>
  <Override PartName="/ppt/tags/tag1374.xml" ContentType="application/vnd.openxmlformats-officedocument.presentationml.tags+xml"/>
  <Override PartName="/ppt/tags/tag1384.xml" ContentType="application/vnd.openxmlformats-officedocument.presentationml.tags+xml"/>
  <Override PartName="/ppt/tags/tag1392.xml" ContentType="application/vnd.openxmlformats-officedocument.presentationml.tags+xml"/>
  <Override PartName="/ppt/tags/tag1397.xml" ContentType="application/vnd.openxmlformats-officedocument.presentationml.tags+xml"/>
  <Override PartName="/ppt/tags/tag1379.xml" ContentType="application/vnd.openxmlformats-officedocument.presentationml.tags+xml"/>
  <Override PartName="/ppt/tags/tag1388.xml" ContentType="application/vnd.openxmlformats-officedocument.presentationml.tags+xml"/>
  <Override PartName="/ppt/tags/tag1400.xml" ContentType="application/vnd.openxmlformats-officedocument.presentationml.tags+xml"/>
  <Override PartName="/ppt/tags/tag1373.xml" ContentType="application/vnd.openxmlformats-officedocument.presentationml.tags+xml"/>
  <Override PartName="/ppt/tags/tag1378.xml" ContentType="application/vnd.openxmlformats-officedocument.presentationml.tags+xml"/>
  <Override PartName="/ppt/tags/tag1383.xml" ContentType="application/vnd.openxmlformats-officedocument.presentationml.tags+xml"/>
  <Override PartName="/ppt/tags/tag1391.xml" ContentType="application/vnd.openxmlformats-officedocument.presentationml.tags+xml"/>
  <Override PartName="/ppt/tags/tag1396.xml" ContentType="application/vnd.openxmlformats-officedocument.presentationml.tags+xml"/>
  <Override PartName="/ppt/tags/tag1399.xml" ContentType="application/vnd.openxmlformats-officedocument.presentationml.tags+xml"/>
  <Override PartName="/ppt/notesSlides/notesSlide21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377.xml" ContentType="application/vnd.openxmlformats-officedocument.presentationml.tags+xml"/>
  <Override PartName="/ppt/tags/tag1372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7" r:id="rId21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14.xml" Id="rId217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0.xlsb" Id="rId1" /></Relationships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635895234006E-2"/>
          <c:y val="2.0651310563939634E-2"/>
          <c:w val="0.97767282095319885"/>
          <c:h val="0.9586973788721207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10F-4F5A-87B7-73862491047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10F-4F5A-87B7-73862491047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10F-4F5A-87B7-73862491047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10F-4F5A-87B7-73862491047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10F-4F5A-87B7-73862491047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10F-4F5A-87B7-73862491047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10F-4F5A-87B7-73862491047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10F-4F5A-87B7-73862491047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10F-4F5A-87B7-73862491047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10F-4F5A-87B7-73862491047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10F-4F5A-87B7-73862491047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10F-4F5A-87B7-738624910474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1:$L$1</c:f>
                <c:numCache>
                  <c:formatCode>General</c:formatCode>
                  <c:ptCount val="12"/>
                  <c:pt idx="0">
                    <c:v>-850</c:v>
                  </c:pt>
                  <c:pt idx="1">
                    <c:v>-550</c:v>
                  </c:pt>
                  <c:pt idx="2">
                    <c:v>-240</c:v>
                  </c:pt>
                  <c:pt idx="3">
                    <c:v>-520</c:v>
                  </c:pt>
                  <c:pt idx="4">
                    <c:v>-900</c:v>
                  </c:pt>
                  <c:pt idx="5">
                    <c:v>-700</c:v>
                  </c:pt>
                  <c:pt idx="6">
                    <c:v>-700</c:v>
                  </c:pt>
                  <c:pt idx="7">
                    <c:v>-400</c:v>
                  </c:pt>
                  <c:pt idx="8">
                    <c:v>-832</c:v>
                  </c:pt>
                  <c:pt idx="9">
                    <c:v>-500</c:v>
                  </c:pt>
                  <c:pt idx="10">
                    <c:v>-800</c:v>
                  </c:pt>
                  <c:pt idx="11">
                    <c:v>-848</c:v>
                  </c:pt>
                </c:numCache>
              </c:numRef>
            </c:plus>
            <c:spPr>
              <a:ln w="9525" cmpd="sng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2:$L$2</c:f>
              <c:numCache>
                <c:formatCode>General</c:formatCode>
                <c:ptCount val="12"/>
                <c:pt idx="0">
                  <c:v>1511.1234705228035</c:v>
                </c:pt>
                <c:pt idx="1">
                  <c:v>1211.1234705228035</c:v>
                </c:pt>
                <c:pt idx="2">
                  <c:v>1111.1234705228035</c:v>
                </c:pt>
                <c:pt idx="3">
                  <c:v>1011.1234705228035</c:v>
                </c:pt>
                <c:pt idx="4">
                  <c:v>1311.1234705228035</c:v>
                </c:pt>
                <c:pt idx="5">
                  <c:v>1211.1234705228035</c:v>
                </c:pt>
                <c:pt idx="6">
                  <c:v>1161.1234705228035</c:v>
                </c:pt>
                <c:pt idx="7">
                  <c:v>1011.1234705228035</c:v>
                </c:pt>
                <c:pt idx="8">
                  <c:v>1411.1234705228035</c:v>
                </c:pt>
                <c:pt idx="9">
                  <c:v>1161.1234705228035</c:v>
                </c:pt>
                <c:pt idx="10">
                  <c:v>1511.1234705228035</c:v>
                </c:pt>
                <c:pt idx="11">
                  <c:v>1611.123470522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510F-4F5A-87B7-738624910474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y"/>
            <c:errBarType val="plus"/>
            <c:errValType val="cust"/>
            <c:noEndCap val="1"/>
            <c:plus>
              <c:numRef>
                <c:f>Sheet1!$A$3:$L$3</c:f>
                <c:numCache>
                  <c:formatCode>General</c:formatCode>
                  <c:ptCount val="12"/>
                  <c:pt idx="0">
                    <c:v>-420</c:v>
                  </c:pt>
                  <c:pt idx="1">
                    <c:v>-300</c:v>
                  </c:pt>
                  <c:pt idx="2">
                    <c:v>-140</c:v>
                  </c:pt>
                  <c:pt idx="3">
                    <c:v>-320</c:v>
                  </c:pt>
                  <c:pt idx="4">
                    <c:v>-320</c:v>
                  </c:pt>
                  <c:pt idx="5">
                    <c:v>-320</c:v>
                  </c:pt>
                  <c:pt idx="6">
                    <c:v>-320</c:v>
                  </c:pt>
                  <c:pt idx="7">
                    <c:v>-250</c:v>
                  </c:pt>
                  <c:pt idx="8">
                    <c:v>-400</c:v>
                  </c:pt>
                  <c:pt idx="9">
                    <c:v>-260</c:v>
                  </c:pt>
                  <c:pt idx="10">
                    <c:v>-400</c:v>
                  </c:pt>
                  <c:pt idx="11">
                    <c:v>-459</c:v>
                  </c:pt>
                </c:numCache>
              </c:numRef>
            </c:plus>
            <c:spPr>
              <a:ln w="152400" cmpd="sng" algn="ctr">
                <a:solidFill>
                  <a:schemeClr val="accent1"/>
                </a:solidFill>
                <a:prstDash val="lgDash"/>
              </a:ln>
            </c:spPr>
          </c:errBars>
          <c:val>
            <c:numRef>
              <c:f>Sheet1!$A$4:$L$4</c:f>
              <c:numCache>
                <c:formatCode>General</c:formatCode>
                <c:ptCount val="12"/>
                <c:pt idx="0">
                  <c:v>1211.1234705228035</c:v>
                </c:pt>
                <c:pt idx="1">
                  <c:v>1061.1234705228035</c:v>
                </c:pt>
                <c:pt idx="2">
                  <c:v>1051.1234705228035</c:v>
                </c:pt>
                <c:pt idx="3">
                  <c:v>911.12347052280347</c:v>
                </c:pt>
                <c:pt idx="4">
                  <c:v>911.12347052280347</c:v>
                </c:pt>
                <c:pt idx="5">
                  <c:v>911.12347052280347</c:v>
                </c:pt>
                <c:pt idx="6">
                  <c:v>911.12347052280347</c:v>
                </c:pt>
                <c:pt idx="7">
                  <c:v>911.12347052280347</c:v>
                </c:pt>
                <c:pt idx="8">
                  <c:v>1111.1234705228035</c:v>
                </c:pt>
                <c:pt idx="9">
                  <c:v>1011.1234705228035</c:v>
                </c:pt>
                <c:pt idx="10">
                  <c:v>1211.1234705228035</c:v>
                </c:pt>
                <c:pt idx="11">
                  <c:v>1411.123470522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510F-4F5A-87B7-738624910474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10F-4F5A-87B7-738624910474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10F-4F5A-87B7-738624910474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10F-4F5A-87B7-738624910474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10F-4F5A-87B7-738624910474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10F-4F5A-87B7-738624910474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10F-4F5A-87B7-738624910474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10F-4F5A-87B7-738624910474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10F-4F5A-87B7-738624910474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10F-4F5A-87B7-738624910474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10F-4F5A-87B7-738624910474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10F-4F5A-87B7-738624910474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rgbClr val="FFFFFF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10F-4F5A-87B7-738624910474}"/>
              </c:ext>
            </c:extLst>
          </c:dPt>
          <c:val>
            <c:numRef>
              <c:f>Sheet1!$A$5:$L$5</c:f>
              <c:numCache>
                <c:formatCode>General</c:formatCode>
                <c:ptCount val="12"/>
                <c:pt idx="0">
                  <c:v>1001.1234705228035</c:v>
                </c:pt>
                <c:pt idx="1">
                  <c:v>911.12347052280347</c:v>
                </c:pt>
                <c:pt idx="2">
                  <c:v>981.12347052280347</c:v>
                </c:pt>
                <c:pt idx="3">
                  <c:v>751.12347052280347</c:v>
                </c:pt>
                <c:pt idx="4">
                  <c:v>751.12347052280347</c:v>
                </c:pt>
                <c:pt idx="5">
                  <c:v>751.12347052280347</c:v>
                </c:pt>
                <c:pt idx="6">
                  <c:v>751.12347052280347</c:v>
                </c:pt>
                <c:pt idx="7">
                  <c:v>786.12347052280347</c:v>
                </c:pt>
                <c:pt idx="8">
                  <c:v>911.12347052280347</c:v>
                </c:pt>
                <c:pt idx="9">
                  <c:v>881.12347052280347</c:v>
                </c:pt>
                <c:pt idx="10">
                  <c:v>1011.1234705228035</c:v>
                </c:pt>
                <c:pt idx="11">
                  <c:v>1181.623470522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510F-4F5A-87B7-738624910474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val>
            <c:numRef>
              <c:f>Sheet1!$A$6:$L$6</c:f>
              <c:numCache>
                <c:formatCode>General</c:formatCode>
                <c:ptCount val="12"/>
                <c:pt idx="0">
                  <c:v>791.12347052280347</c:v>
                </c:pt>
                <c:pt idx="1">
                  <c:v>761.12347052280347</c:v>
                </c:pt>
                <c:pt idx="2">
                  <c:v>911.12347052280347</c:v>
                </c:pt>
                <c:pt idx="3">
                  <c:v>591.12347052280347</c:v>
                </c:pt>
                <c:pt idx="4">
                  <c:v>591.12347052280347</c:v>
                </c:pt>
                <c:pt idx="5">
                  <c:v>591.12347052280347</c:v>
                </c:pt>
                <c:pt idx="6">
                  <c:v>591.12347052280347</c:v>
                </c:pt>
                <c:pt idx="7">
                  <c:v>661.12347052280347</c:v>
                </c:pt>
                <c:pt idx="8">
                  <c:v>711.12347052280347</c:v>
                </c:pt>
                <c:pt idx="9">
                  <c:v>751.12347052280347</c:v>
                </c:pt>
                <c:pt idx="10">
                  <c:v>811.12347052280347</c:v>
                </c:pt>
                <c:pt idx="11">
                  <c:v>952.12347052280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510F-4F5A-87B7-738624910474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10F-4F5A-87B7-738624910474}"/>
              </c:ext>
            </c:extLst>
          </c:dPt>
          <c:dPt>
            <c:idx val="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10F-4F5A-87B7-738624910474}"/>
              </c:ext>
            </c:extLst>
          </c:dPt>
          <c:dPt>
            <c:idx val="2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10F-4F5A-87B7-738624910474}"/>
              </c:ext>
            </c:extLst>
          </c:dPt>
          <c:dPt>
            <c:idx val="3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10F-4F5A-87B7-738624910474}"/>
              </c:ext>
            </c:extLst>
          </c:dPt>
          <c:dPt>
            <c:idx val="4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10F-4F5A-87B7-738624910474}"/>
              </c:ext>
            </c:extLst>
          </c:dPt>
          <c:dPt>
            <c:idx val="5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10F-4F5A-87B7-738624910474}"/>
              </c:ext>
            </c:extLst>
          </c:dPt>
          <c:dPt>
            <c:idx val="6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10F-4F5A-87B7-738624910474}"/>
              </c:ext>
            </c:extLst>
          </c:dPt>
          <c:dPt>
            <c:idx val="7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10F-4F5A-87B7-738624910474}"/>
              </c:ext>
            </c:extLst>
          </c:dPt>
          <c:dPt>
            <c:idx val="8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10F-4F5A-87B7-738624910474}"/>
              </c:ext>
            </c:extLst>
          </c:dPt>
          <c:dPt>
            <c:idx val="9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10F-4F5A-87B7-738624910474}"/>
              </c:ext>
            </c:extLst>
          </c:dPt>
          <c:dPt>
            <c:idx val="10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10F-4F5A-87B7-738624910474}"/>
              </c:ext>
            </c:extLst>
          </c:dPt>
          <c:dPt>
            <c:idx val="11"/>
            <c:marker>
              <c:symbol val="dash"/>
              <c:size val="7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10F-4F5A-87B7-738624910474}"/>
              </c:ext>
            </c:extLst>
          </c:dPt>
          <c:val>
            <c:numRef>
              <c:f>Sheet1!$A$7:$L$7</c:f>
              <c:numCache>
                <c:formatCode>General</c:formatCode>
                <c:ptCount val="12"/>
                <c:pt idx="0">
                  <c:v>661.12347052280347</c:v>
                </c:pt>
                <c:pt idx="1">
                  <c:v>661.12347052280347</c:v>
                </c:pt>
                <c:pt idx="2">
                  <c:v>871.12347052280347</c:v>
                </c:pt>
                <c:pt idx="3">
                  <c:v>491.12347052280347</c:v>
                </c:pt>
                <c:pt idx="4">
                  <c:v>411.12347052280347</c:v>
                </c:pt>
                <c:pt idx="5">
                  <c:v>511.12347052280347</c:v>
                </c:pt>
                <c:pt idx="6">
                  <c:v>461.12347052280347</c:v>
                </c:pt>
                <c:pt idx="7">
                  <c:v>611.12347052280347</c:v>
                </c:pt>
                <c:pt idx="8">
                  <c:v>579.12347052280347</c:v>
                </c:pt>
                <c:pt idx="9">
                  <c:v>661.12347052280347</c:v>
                </c:pt>
                <c:pt idx="10">
                  <c:v>711.12347052280347</c:v>
                </c:pt>
                <c:pt idx="11">
                  <c:v>763.12347052280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8-510F-4F5A-87B7-738624910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6598239"/>
        <c:axId val="1"/>
      </c:lineChart>
      <c:catAx>
        <c:axId val="986598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11.12347052280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986598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4.xml.rels>&#65279;<?xml version="1.0" encoding="utf-8"?><Relationships xmlns="http://schemas.openxmlformats.org/package/2006/relationships"><Relationship Type="http://schemas.openxmlformats.org/officeDocument/2006/relationships/slide" Target="/ppt/slides/slide214.xml" Id="rId2" /><Relationship Type="http://schemas.openxmlformats.org/officeDocument/2006/relationships/notesMaster" Target="/ppt/notesMasters/notesMaster1.xml" Id="rId1" /></Relationships>
</file>

<file path=ppt/notesSlides/notesSlide2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86563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4.xml.rels>&#65279;<?xml version="1.0" encoding="utf-8"?><Relationships xmlns="http://schemas.openxmlformats.org/package/2006/relationships"><Relationship Type="http://schemas.openxmlformats.org/officeDocument/2006/relationships/tags" Target="/ppt/tags/tag1382.xml" Id="rId13" /><Relationship Type="http://schemas.openxmlformats.org/officeDocument/2006/relationships/tags" Target="/ppt/tags/tag1387.xml" Id="rId18" /><Relationship Type="http://schemas.openxmlformats.org/officeDocument/2006/relationships/tags" Target="/ppt/tags/tag1395.xml" Id="rId26" /><Relationship Type="http://schemas.openxmlformats.org/officeDocument/2006/relationships/tags" Target="/ppt/tags/tag1390.xml" Id="rId21" /><Relationship Type="http://schemas.openxmlformats.org/officeDocument/2006/relationships/slideLayout" Target="/ppt/slideLayouts/slideLayout5.xml" Id="rId34" /><Relationship Type="http://schemas.openxmlformats.org/officeDocument/2006/relationships/tags" Target="/ppt/tags/tag1376.xml" Id="rId7" /><Relationship Type="http://schemas.openxmlformats.org/officeDocument/2006/relationships/tags" Target="/ppt/tags/tag1381.xml" Id="rId12" /><Relationship Type="http://schemas.openxmlformats.org/officeDocument/2006/relationships/tags" Target="/ppt/tags/tag1386.xml" Id="rId17" /><Relationship Type="http://schemas.openxmlformats.org/officeDocument/2006/relationships/tags" Target="/ppt/tags/tag1394.xml" Id="rId25" /><Relationship Type="http://schemas.openxmlformats.org/officeDocument/2006/relationships/tags" Target="/ppt/tags/tag1402.xml" Id="rId33" /><Relationship Type="http://schemas.openxmlformats.org/officeDocument/2006/relationships/chart" Target="/ppt/charts/chart51.xml" Id="rId38" /><Relationship Type="http://schemas.openxmlformats.org/officeDocument/2006/relationships/tags" Target="/ppt/tags/tag1371.xml" Id="rId2" /><Relationship Type="http://schemas.openxmlformats.org/officeDocument/2006/relationships/tags" Target="/ppt/tags/tag1385.xml" Id="rId16" /><Relationship Type="http://schemas.openxmlformats.org/officeDocument/2006/relationships/tags" Target="/ppt/tags/tag1389.xml" Id="rId20" /><Relationship Type="http://schemas.openxmlformats.org/officeDocument/2006/relationships/tags" Target="/ppt/tags/tag1398.xml" Id="rId29" /><Relationship Type="http://schemas.openxmlformats.org/officeDocument/2006/relationships/vmlDrawing" Target="/ppt/drawings/vmlDrawing218.vml" Id="rId1" /><Relationship Type="http://schemas.openxmlformats.org/officeDocument/2006/relationships/tags" Target="/ppt/tags/tag1375.xml" Id="rId6" /><Relationship Type="http://schemas.openxmlformats.org/officeDocument/2006/relationships/tags" Target="/ppt/tags/tag1380.xml" Id="rId11" /><Relationship Type="http://schemas.openxmlformats.org/officeDocument/2006/relationships/tags" Target="/ppt/tags/tag1393.xml" Id="rId24" /><Relationship Type="http://schemas.openxmlformats.org/officeDocument/2006/relationships/tags" Target="/ppt/tags/tag1401.xml" Id="rId32" /><Relationship Type="http://schemas.openxmlformats.org/officeDocument/2006/relationships/image" Target="/ppt/media/image4.emf" Id="rId37" /><Relationship Type="http://schemas.openxmlformats.org/officeDocument/2006/relationships/tags" Target="/ppt/tags/tag1374.xml" Id="rId5" /><Relationship Type="http://schemas.openxmlformats.org/officeDocument/2006/relationships/tags" Target="/ppt/tags/tag1384.xml" Id="rId15" /><Relationship Type="http://schemas.openxmlformats.org/officeDocument/2006/relationships/tags" Target="/ppt/tags/tag1392.xml" Id="rId23" /><Relationship Type="http://schemas.openxmlformats.org/officeDocument/2006/relationships/tags" Target="/ppt/tags/tag1397.xml" Id="rId28" /><Relationship Type="http://schemas.openxmlformats.org/officeDocument/2006/relationships/oleObject" Target="/ppt/embeddings/oleObject218.bin" Id="rId36" /><Relationship Type="http://schemas.openxmlformats.org/officeDocument/2006/relationships/tags" Target="/ppt/tags/tag1379.xml" Id="rId10" /><Relationship Type="http://schemas.openxmlformats.org/officeDocument/2006/relationships/tags" Target="/ppt/tags/tag1388.xml" Id="rId19" /><Relationship Type="http://schemas.openxmlformats.org/officeDocument/2006/relationships/tags" Target="/ppt/tags/tag1400.xml" Id="rId31" /><Relationship Type="http://schemas.openxmlformats.org/officeDocument/2006/relationships/tags" Target="/ppt/tags/tag1373.xml" Id="rId4" /><Relationship Type="http://schemas.openxmlformats.org/officeDocument/2006/relationships/tags" Target="/ppt/tags/tag1378.xml" Id="rId9" /><Relationship Type="http://schemas.openxmlformats.org/officeDocument/2006/relationships/tags" Target="/ppt/tags/tag1383.xml" Id="rId14" /><Relationship Type="http://schemas.openxmlformats.org/officeDocument/2006/relationships/tags" Target="/ppt/tags/tag1391.xml" Id="rId22" /><Relationship Type="http://schemas.openxmlformats.org/officeDocument/2006/relationships/tags" Target="/ppt/tags/tag1396.xml" Id="rId27" /><Relationship Type="http://schemas.openxmlformats.org/officeDocument/2006/relationships/tags" Target="/ppt/tags/tag1399.xml" Id="rId30" /><Relationship Type="http://schemas.openxmlformats.org/officeDocument/2006/relationships/notesSlide" Target="/ppt/notesSlides/notesSlide214.xml" Id="rId35" /><Relationship Type="http://schemas.openxmlformats.org/officeDocument/2006/relationships/tags" Target="/ppt/tags/tag1377.xml" Id="rId8" /><Relationship Type="http://schemas.openxmlformats.org/officeDocument/2006/relationships/tags" Target="/ppt/tags/tag1372.xml" Id="rId3" /></Relationships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060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1" name="think-cell 幻灯片" r:id="rId36" imgW="349" imgH="350" progId="TCLayout.ActiveDocument.1">
                  <p:embed/>
                </p:oleObj>
              </mc:Choice>
              <mc:Fallback>
                <p:oleObj name="think-cell 幻灯片" r:id="rId3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Time series: Box and whisker, box plot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6807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mbination, error bar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4589AA9-661F-248E-F296-BCD92CD420CD}"/>
              </a:ext>
            </a:extLst>
          </p:cNvPr>
          <p:cNvSpPr>
            <a:spLocks/>
          </p:cNvSpPr>
          <p:nvPr/>
        </p:nvSpPr>
        <p:spPr>
          <a:xfrm>
            <a:off x="8811108" y="-3206650"/>
            <a:ext cx="4575600" cy="3766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line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  <a:endParaRPr lang="en-US" sz="1200" u="sng">
              <a:solidFill>
                <a:schemeClr val="tx1"/>
              </a:solidFill>
              <a:cs typeface="Arial"/>
            </a:endParaRP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a box-and-whisker chart</a:t>
            </a:r>
            <a:r>
              <a:rPr lang="en-US" sz="1200">
                <a:solidFill>
                  <a:schemeClr val="tx1"/>
                </a:solidFill>
                <a:cs typeface="Arial"/>
              </a:rPr>
              <a:t>, first insert a line chart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Next, to 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boxe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's datasheet, enter a series representing the upper quartile and a series representing the lower quartile.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, select both series' lines. Right-click a line to open the context menu.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Error Bars</a:t>
            </a:r>
            <a:r>
              <a:rPr lang="en-US" sz="1200">
                <a:solidFill>
                  <a:schemeClr val="tx1"/>
                </a:solidFill>
                <a:cs typeface="Arial"/>
              </a:rPr>
              <a:t>.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Click the bars to open the mini toolbar. Adjust the thickness and color of the bars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Next, 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whisker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datasheet, enter a series representing the max. values and a series representing the min. values.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Create another set of error bars from these series.</a:t>
            </a:r>
            <a:endParaRPr lang="en-US">
              <a:solidFill>
                <a:schemeClr val="tx1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error bars' mini toolbar, in the marker style menu,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Long Bar</a:t>
            </a:r>
            <a:r>
              <a:rPr lang="en-US" sz="1200">
                <a:solidFill>
                  <a:schemeClr val="tx1"/>
                </a:solidFill>
                <a:cs typeface="Arial"/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Finally, 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median marker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datasheet, enter a series representing the marker values.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chart, click the series line to open the mini toolbar. Select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No Line</a:t>
            </a:r>
            <a:r>
              <a:rPr lang="en-US" sz="1200">
                <a:solidFill>
                  <a:schemeClr val="tx1"/>
                </a:solidFill>
                <a:cs typeface="Arial"/>
              </a:rPr>
              <a:t>. Add markers, and style as desir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470428-F791-CB81-D632-A4B0715AFB1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923925" y="4816475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E8E42B-A6CD-1BAC-41DE-1A774D75ED0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923925" y="4340225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8B5E87-8EDB-2314-08EA-682964223D8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23925" y="3865563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A05B4A-9550-9D66-88C5-3F19C88E86E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923925" y="3389313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62A622-A7B5-2705-CE95-9755D4D0E555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923925" y="2913063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A0E7E54-291A-5832-E95A-1AC6573EC16C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923925" y="2438400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34421F2-3E60-7B4C-D81A-D4620C727CF6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23925" y="1962150"/>
            <a:ext cx="7229475" cy="0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2E68B1B4-DE8D-44E2-926C-E63B62C1323E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53085363"/>
              </p:ext>
            </p:extLst>
          </p:nvPr>
        </p:nvGraphicFramePr>
        <p:xfrm>
          <a:off x="841375" y="1879600"/>
          <a:ext cx="739457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9C5265B-535F-1A7E-AF5F-1963A87E8AE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0562" y="5688013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3BF0AE-1835-4F53-ACD1-9D2CD306366D}" type="datetime'''''''''''''''''0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19CC85-B868-FEC9-22FD-7FE5FD05F0B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49250" y="4710113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28EC53C-8540-4804-B86E-F5FC9C838E8E}" type="datetime'''''''3''0''''''''''''0''''''''''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8F3AF16-2D8F-B3B7-266D-24C0174AB2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4013" y="4233863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971C9A1-A9B3-40D1-89BB-4F78D3482B3E}" type="datetime'''''''''''''''3''''''''''''''''2''0''''''''0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2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6D708B-5DE7-6228-B5C7-49889E420B6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0838" y="3759200"/>
            <a:ext cx="455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747807E-CCF9-423D-AD1F-49A8E1793C13}" type="datetime'''''''''''''''''''''''''''3''''''4''''0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4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98A6BEF-68F8-2929-8B0D-37CD6157231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54013" y="3282950"/>
            <a:ext cx="452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FCF73A1-E43D-4EDD-9E18-5C743F608931}" type="datetime'''''''''''''''''''''''''''''''''''''''3''60''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6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CE6B83-4527-13B7-5EE7-2B309B81399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0838" y="2806700"/>
            <a:ext cx="455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95E237-B138-47D2-98E6-D3B540BD722D}" type="datetime'''38''''''''''''''''''''''''''''''''0''''0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8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AE88E9E-3F21-DCA0-3CDA-E7D78349932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4488" y="2332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59587E6-26B0-43A0-800D-17123E086B56}" type="datetime'''''''''4''''''''''''''''0''''''''''''''''0''''''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97DC6FF-506C-36DC-506C-D50AF43FF64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250" y="1855788"/>
            <a:ext cx="457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E11602-D96A-4EF8-92A8-0AB6DEA698F0}" type="datetime'''''''''4''''''''''''2''''''''''''''''''''0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00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 useBgFill="1">
        <p:nvSpPr>
          <p:cNvPr id="31" name="任意多边形: 形状 30">
            <a:extLst>
              <a:ext uri="{FF2B5EF4-FFF2-40B4-BE49-F238E27FC236}">
                <a16:creationId xmlns:a16="http://schemas.microsoft.com/office/drawing/2014/main" id="{F078E0A8-605B-4643-BAA3-2E8D797E77F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50900" y="52578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7060C9DA-0AAA-4ED3-96C4-211AD53F977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50900" y="52578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EBD53B8B-D941-43C6-AD25-F674DEBEF0A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50900" y="53149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A1D7DB9-EADD-A6A5-D3D2-20C916E585C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63625" y="5853113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E3FDDF-C47A-4B44-8722-12F1B1699F07}" type="datetime'''''''''''''''''''''''''''''J''''a''''''''''''''''''''n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F28102F-AF0E-10C2-A069-738651F89BA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58938" y="5853113"/>
            <a:ext cx="338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39F664-1C59-4163-B5F2-A389CCE99965}" type="datetime'''''F''''''''''''''e''''''''''''''''''''''b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53901E5-DC55-55D1-BB5E-16325A6CD18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255838" y="5853113"/>
            <a:ext cx="349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BB17CC-DD8E-4B8E-BD73-46BE1323898A}" type="datetime'''''M''''''''''''''''''''''''''a''r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A5103E2-EE7C-6817-0AB6-D24AD1D6E2B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873374" y="5853113"/>
            <a:ext cx="317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C5DA45-D626-4983-B90D-84C3F8DB6589}" type="datetime'''A''''''''''''''p''''''''r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69C40D6-C2CB-B897-E345-4325ECCCF50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448049" y="5853113"/>
            <a:ext cx="376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07FFBA-5598-46C5-AA3A-6BF219316893}" type="datetime'''''''''M''''''''''''''''''''a''''''y''''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7386F88-61E8-E1C1-A1A0-4EFE24591CE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076700" y="5853113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EA18840-829F-401D-AE36-C2BEEACF7F39}" type="datetime'J''''''''''''''''''''''''''''u''''''''''''''''''''''n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CA9AF83-D645-959A-D9A0-158EE1FCF6B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708525" y="5853113"/>
            <a:ext cx="265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637B9C-DF2F-40E1-99D8-1A98AE07BCAD}" type="datetime'''''J''''u''''''l''''''''''''''''''''''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4C9BA53-9F08-E52B-9645-DD9859CA190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264149" y="5853113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183AE6-8000-4803-992C-E389551EC147}" type="datetime'''''''''A''''u''''''''g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36FF8BF-7F2E-007E-CFD6-DEF920AF1EE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873749" y="5853113"/>
            <a:ext cx="342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E86B58-9ED6-4828-8592-0643D85D4D67}" type="datetime'''''''''S''''''''''''''''''''e''''''''''''''''''''p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0BFB348-BAD5-56A3-49D4-75743C49909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484937" y="5853113"/>
            <a:ext cx="323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594ABB-E587-46EE-8D9B-404E1F4A08AD}" type="datetime'''''''''Oc''''t''''''''''''''''''''''''''''''''''''''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770D04E-9809-3FE6-271A-98FBD7AA10C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075487" y="5853113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C23BB6-2681-4000-9D3E-FE25692E238E}" type="datetime'''''''''No''v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1F6D108-E11E-D0EF-3DD8-5085AD74E4B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75563" y="5853113"/>
            <a:ext cx="354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73FB4AC-C5DC-4F09-A1F6-B78837C44D29}" type="datetime'''''D''''''''''''e''''''''''''c'''''''">
              <a:rPr lang="en-GB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GB" sz="140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150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sGtdl6UxhOCO0wIQ5GZw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zz5NVsmW5d_Nf_nahGJQ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hxEQI1hFmEOOAQ86kd4w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ZleFPQMLrfSz29h6plw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jLV5PYuhLtwzxt10Vad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QgA22VQdgJ_NBRKxfG1g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zS46bcffIJC3zroGTIA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vPi3rRq8IR2dqe_8k3zA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eC0GfV5wsJR58V2v.gh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h._jrnkYwOTNlGmZAI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TmmUPguKsBCNWqwpP9p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98HQ8We3V4zD9h_hJNQ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10KaRQ6oX2aWTwq7Jzzw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i7N2ORrT8sX4vAcaKLrw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hfd9Q5uaa2h_WMlqmhf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P9LDi3PTic1DPAhihwcA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XPo7S9piykFlTLoAnaA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PnM.UmD1Qi5a6DSo3dgw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KqaC6gE2zeJxeV38toBA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cBBIdIN8aPDrwitU1oD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wuavekvauILtx26ju5uw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Aq6rIIRtlu_zPFI3iRY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8EPBFJHFEVSbxyjcEbFg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66z55Ka39PnCwauzwFNQ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dvP3UaBTt34KInBQ1r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ulm00xTBKRnV5Pkpadg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XdZecECwb1M_CXDeS7A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qNZ0YWNArUchjJxHs5Q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OebLAX_1m9PW3uMViq3Q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2HEb93CCvzADgZP_V7Nw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_hpP_PFYO_WRV103.R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